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477" r:id="rId4"/>
  </p:sldMasterIdLst>
  <p:notesMasterIdLst>
    <p:notesMasterId r:id="rId12"/>
  </p:notesMasterIdLst>
  <p:sldIdLst>
    <p:sldId id="1281" r:id="rId5"/>
    <p:sldId id="5858" r:id="rId6"/>
    <p:sldId id="5862" r:id="rId7"/>
    <p:sldId id="5863" r:id="rId8"/>
    <p:sldId id="5859" r:id="rId9"/>
    <p:sldId id="5844" r:id="rId10"/>
    <p:sldId id="5855" r:id="rId11"/>
  </p:sldIdLst>
  <p:sldSz cx="12192000" cy="6858000"/>
  <p:notesSz cx="9296400" cy="70104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an Ratka" initials="SR" lastIdx="8" clrIdx="0">
    <p:extLst>
      <p:ext uri="{19B8F6BF-5375-455C-9EA6-DF929625EA0E}">
        <p15:presenceInfo xmlns:p15="http://schemas.microsoft.com/office/powerpoint/2012/main" userId="S::sratka@irena.org::82c4675c-fdf7-4357-ace8-db58a522a69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192"/>
    <a:srgbClr val="2AA4CA"/>
    <a:srgbClr val="A8CC8A"/>
    <a:srgbClr val="92BF6D"/>
    <a:srgbClr val="6B9FD7"/>
    <a:srgbClr val="6A9DD6"/>
    <a:srgbClr val="DED673"/>
    <a:srgbClr val="DCCD3E"/>
    <a:srgbClr val="A69C9F"/>
    <a:srgbClr val="C698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94"/>
  </p:normalViewPr>
  <p:slideViewPr>
    <p:cSldViewPr snapToGrid="0">
      <p:cViewPr varScale="1">
        <p:scale>
          <a:sx n="102" d="100"/>
          <a:sy n="102" d="100"/>
        </p:scale>
        <p:origin x="192" y="4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A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09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193F93B-08FC-0340-B3BC-8D21CE7B42B6}" type="datetimeFigureOut">
              <a:rPr lang="en-AE" smtClean="0"/>
              <a:t>10/03/2021</a:t>
            </a:fld>
            <a:endParaRPr lang="en-A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A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73754"/>
            <a:ext cx="7437120" cy="2760346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A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0A35C5E-4432-9842-9A51-9913977BD8E7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524942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29D018E-AC63-4AA5-85D6-94D8C9B4E534}" type="slidenum">
              <a:rPr lang="de-DE" altLang="en-US" smtClean="0"/>
              <a:pPr>
                <a:defRPr/>
              </a:pPr>
              <a:t>1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938933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EB43F916-57B6-4DED-9CAC-C8813DF5D6DC}" type="slidenum">
              <a:rPr lang="de-DE" alt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2</a:t>
            </a:fld>
            <a:endParaRPr lang="de-DE" alt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764993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EB43F916-57B6-4DED-9CAC-C8813DF5D6DC}" type="slidenum">
              <a:rPr lang="de-DE" alt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3</a:t>
            </a:fld>
            <a:endParaRPr lang="de-DE" alt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057175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EB43F916-57B6-4DED-9CAC-C8813DF5D6DC}" type="slidenum">
              <a:rPr lang="de-DE" alt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4</a:t>
            </a:fld>
            <a:endParaRPr lang="de-DE" alt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570222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EB43F916-57B6-4DED-9CAC-C8813DF5D6DC}" type="slidenum">
              <a:rPr lang="de-DE" alt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</a:t>
            </a:fld>
            <a:endParaRPr lang="de-DE" alt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144240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" name="Google Shape;614;gafe2d0a82f_0_9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15" name="Google Shape;615;gafe2d0a82f_0_9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0" algn="just" rtl="0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SzPts val="1100"/>
              <a:buNone/>
            </a:pPr>
            <a:endParaRPr sz="1400">
              <a:solidFill>
                <a:schemeClr val="dk1"/>
              </a:solidFill>
            </a:endParaRPr>
          </a:p>
        </p:txBody>
      </p:sp>
      <p:sp>
        <p:nvSpPr>
          <p:cNvPr id="616" name="Google Shape;616;gafe2d0a82f_0_9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6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82215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Slide Image Placeholder 1">
            <a:extLst>
              <a:ext uri="{FF2B5EF4-FFF2-40B4-BE49-F238E27FC236}">
                <a16:creationId xmlns:a16="http://schemas.microsoft.com/office/drawing/2014/main" id="{88331777-7E02-4021-868F-D5F692D32FD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400300" y="1103313"/>
            <a:ext cx="4752975" cy="2674937"/>
          </a:xfrm>
          <a:ln/>
        </p:spPr>
      </p:sp>
      <p:sp>
        <p:nvSpPr>
          <p:cNvPr id="122883" name="Notes Placeholder 2">
            <a:extLst>
              <a:ext uri="{FF2B5EF4-FFF2-40B4-BE49-F238E27FC236}">
                <a16:creationId xmlns:a16="http://schemas.microsoft.com/office/drawing/2014/main" id="{6DE96645-8278-4115-88AB-CE7F6863F56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57443" y="3972560"/>
            <a:ext cx="8514322" cy="319640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884" name="Slide Number Placeholder 3">
            <a:extLst>
              <a:ext uri="{FF2B5EF4-FFF2-40B4-BE49-F238E27FC236}">
                <a16:creationId xmlns:a16="http://schemas.microsoft.com/office/drawing/2014/main" id="{0A7334E6-E806-4B41-965A-126C6DC5C58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8736B3-A0AA-4543-9869-2C25BC5CADAE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86653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14820AF-ED1F-584D-A864-0887C90168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8535" t="21187" r="58427" b="54732"/>
          <a:stretch/>
        </p:blipFill>
        <p:spPr>
          <a:xfrm flipH="1">
            <a:off x="9970853" y="5771205"/>
            <a:ext cx="2221145" cy="1086795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E2358EF-C452-6D42-9AE2-2CAE6F8203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8719" y="6353666"/>
            <a:ext cx="403489" cy="3619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E1258401-23C6-2149-BDD6-E20CBEDE9734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392EF59-F5D7-6F47-B871-563DB979DC53}"/>
              </a:ext>
            </a:extLst>
          </p:cNvPr>
          <p:cNvCxnSpPr/>
          <p:nvPr userDrawn="1"/>
        </p:nvCxnSpPr>
        <p:spPr>
          <a:xfrm>
            <a:off x="334963" y="885032"/>
            <a:ext cx="11522074" cy="0"/>
          </a:xfrm>
          <a:prstGeom prst="line">
            <a:avLst/>
          </a:prstGeom>
          <a:ln w="28575">
            <a:solidFill>
              <a:srgbClr val="0061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8794E098-BE3D-0544-9CF5-6EC3FADF8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902" y="165474"/>
            <a:ext cx="11522074" cy="8366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E7B44ADF-CA07-494B-9758-B7F29649FE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89208" y="6412283"/>
            <a:ext cx="1116051" cy="280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4717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371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T Pink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0210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88161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userDrawn="1">
  <p:cSld name="1_Two Content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9782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108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2AF4FA-E774-43E2-A400-9B0A9BE32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11135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2AF4FA-E774-43E2-A400-9B0A9BE32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30577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8" r:id="rId1"/>
    <p:sldLayoutId id="2147485497" r:id="rId2"/>
    <p:sldLayoutId id="2147485498" r:id="rId3"/>
    <p:sldLayoutId id="2147485500" r:id="rId4"/>
    <p:sldLayoutId id="2147485501" r:id="rId5"/>
    <p:sldLayoutId id="2147485502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06192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jp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2.jpeg"/><Relationship Id="rId3" Type="http://schemas.openxmlformats.org/officeDocument/2006/relationships/image" Target="../media/image2.png"/><Relationship Id="rId7" Type="http://schemas.openxmlformats.org/officeDocument/2006/relationships/image" Target="../media/image17.emf"/><Relationship Id="rId12" Type="http://schemas.openxmlformats.org/officeDocument/2006/relationships/image" Target="../media/image2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jpeg"/><Relationship Id="rId11" Type="http://schemas.openxmlformats.org/officeDocument/2006/relationships/image" Target="../media/image20.jpeg"/><Relationship Id="rId5" Type="http://schemas.openxmlformats.org/officeDocument/2006/relationships/image" Target="../media/image6.jpeg"/><Relationship Id="rId15" Type="http://schemas.openxmlformats.org/officeDocument/2006/relationships/image" Target="../media/image3.png"/><Relationship Id="rId10" Type="http://schemas.openxmlformats.org/officeDocument/2006/relationships/image" Target="../media/image11.png"/><Relationship Id="rId4" Type="http://schemas.openxmlformats.org/officeDocument/2006/relationships/image" Target="../media/image15.jpeg"/><Relationship Id="rId9" Type="http://schemas.openxmlformats.org/officeDocument/2006/relationships/image" Target="../media/image19.jpeg"/><Relationship Id="rId1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15B989AB-BBD9-294F-9428-14225C3386E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4475" r="21617" b="10997"/>
          <a:stretch/>
        </p:blipFill>
        <p:spPr>
          <a:xfrm>
            <a:off x="-1" y="2196662"/>
            <a:ext cx="12183925" cy="401674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4DDD345-B51D-4E40-87CA-81DB2BAD99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7890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4DDD345-B51D-4E40-87CA-81DB2BAD9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ADF6E83F-1DD4-43C0-A144-CC79C3B10693}"/>
              </a:ext>
            </a:extLst>
          </p:cNvPr>
          <p:cNvSpPr txBox="1">
            <a:spLocks/>
          </p:cNvSpPr>
          <p:nvPr/>
        </p:nvSpPr>
        <p:spPr bwMode="auto">
          <a:xfrm>
            <a:off x="0" y="6094869"/>
            <a:ext cx="12192000" cy="53659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defTabSz="685800">
              <a:defRPr/>
            </a:pPr>
            <a:r>
              <a:rPr lang="en-US" sz="2000" dirty="0">
                <a:solidFill>
                  <a:srgbClr val="00619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Keynote at </a:t>
            </a:r>
            <a:r>
              <a:rPr lang="en-US" sz="2000" dirty="0" err="1">
                <a:solidFill>
                  <a:srgbClr val="00619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REvision</a:t>
            </a:r>
            <a:r>
              <a:rPr lang="en-US" sz="2000" dirty="0">
                <a:solidFill>
                  <a:srgbClr val="00619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2021 </a:t>
            </a:r>
            <a:r>
              <a:rPr lang="en-AE" sz="2000" dirty="0">
                <a:solidFill>
                  <a:srgbClr val="0061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• </a:t>
            </a:r>
            <a:r>
              <a:rPr lang="de-DE" sz="2000" dirty="0">
                <a:solidFill>
                  <a:srgbClr val="0061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bcast </a:t>
            </a:r>
            <a:r>
              <a:rPr lang="en-AE" sz="2000" dirty="0">
                <a:solidFill>
                  <a:srgbClr val="0061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• </a:t>
            </a:r>
            <a:r>
              <a:rPr lang="en-US" sz="2000" dirty="0">
                <a:solidFill>
                  <a:srgbClr val="00619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10 March 2021 </a:t>
            </a:r>
          </a:p>
        </p:txBody>
      </p:sp>
      <p:sp>
        <p:nvSpPr>
          <p:cNvPr id="6" name="Google Shape;102;p29"/>
          <p:cNvSpPr txBox="1"/>
          <p:nvPr/>
        </p:nvSpPr>
        <p:spPr>
          <a:xfrm>
            <a:off x="46712" y="1590405"/>
            <a:ext cx="12192000" cy="1203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algn="ctr">
              <a:buClr>
                <a:srgbClr val="000000"/>
              </a:buClr>
              <a:buSzPts val="3000"/>
            </a:pPr>
            <a:r>
              <a:rPr lang="en-GB" sz="4000" b="1" dirty="0">
                <a:solidFill>
                  <a:srgbClr val="006192"/>
                </a:solidFill>
                <a:latin typeface="Calibri"/>
                <a:ea typeface="Calibri"/>
                <a:cs typeface="Calibri"/>
              </a:rPr>
              <a:t>A New Energy Future</a:t>
            </a:r>
          </a:p>
          <a:p>
            <a:pPr algn="ctr">
              <a:buClr>
                <a:srgbClr val="000000"/>
              </a:buClr>
              <a:buSzPts val="3000"/>
            </a:pPr>
            <a:r>
              <a:rPr lang="en-GB" sz="4000" dirty="0">
                <a:solidFill>
                  <a:srgbClr val="006192"/>
                </a:solidFill>
                <a:latin typeface="Calibri"/>
                <a:ea typeface="Calibri"/>
                <a:cs typeface="Calibri"/>
              </a:rPr>
              <a:t>The way to a sustainable recover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8C21CF2-CF69-A04D-BFB1-7EA0AEC73149}"/>
              </a:ext>
            </a:extLst>
          </p:cNvPr>
          <p:cNvSpPr/>
          <p:nvPr/>
        </p:nvSpPr>
        <p:spPr>
          <a:xfrm>
            <a:off x="8076" y="2863120"/>
            <a:ext cx="121920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0000"/>
              </a:buClr>
              <a:buSzPts val="3000"/>
            </a:pPr>
            <a:r>
              <a:rPr lang="en-US" sz="2800" b="1" dirty="0">
                <a:solidFill>
                  <a:srgbClr val="006192"/>
                </a:solidFill>
                <a:ea typeface="Calibri"/>
                <a:cs typeface="Calibri"/>
                <a:sym typeface="Calibri"/>
              </a:rPr>
              <a:t>Francesco La Camera</a:t>
            </a:r>
          </a:p>
          <a:p>
            <a:pPr algn="ctr">
              <a:buClr>
                <a:srgbClr val="000000"/>
              </a:buClr>
              <a:buSzPts val="3000"/>
            </a:pPr>
            <a:r>
              <a:rPr lang="en-US" sz="2800" dirty="0">
                <a:solidFill>
                  <a:srgbClr val="006192"/>
                </a:solidFill>
                <a:ea typeface="Calibri"/>
                <a:cs typeface="Calibri"/>
                <a:sym typeface="Calibri"/>
              </a:rPr>
              <a:t>IRENA Director-General</a:t>
            </a:r>
          </a:p>
        </p:txBody>
      </p:sp>
      <p:pic>
        <p:nvPicPr>
          <p:cNvPr id="28" name="Picture 27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E0CAF3C6-85E8-B744-826E-9C449278762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14255" y="585478"/>
            <a:ext cx="2563490" cy="649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1636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EF3C83EA-877D-A74B-B4A6-80BB332CD3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980" y="1307591"/>
            <a:ext cx="9371667" cy="519516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B42FF3C-F303-4FC2-BAE4-C7A81CBCDF28}"/>
              </a:ext>
            </a:extLst>
          </p:cNvPr>
          <p:cNvSpPr/>
          <p:nvPr/>
        </p:nvSpPr>
        <p:spPr>
          <a:xfrm>
            <a:off x="264103" y="355245"/>
            <a:ext cx="115732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6192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Calibri"/>
              </a:rPr>
              <a:t>In most of the world, RE are now the lowest cost option for new power generati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6192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</p:txBody>
      </p:sp>
      <p:pic>
        <p:nvPicPr>
          <p:cNvPr id="41988" name="Picture 4" descr="https://www.irena.org/-/media/Images/IRENA/Agency/Publication/2020/May/IRENA20200601Costscover.jpg?h=311&amp;w=220&amp;la=en&amp;hash=A78354A7E5D22EFB47EF683D2621A8662841D4D0">
            <a:extLst>
              <a:ext uri="{FF2B5EF4-FFF2-40B4-BE49-F238E27FC236}">
                <a16:creationId xmlns:a16="http://schemas.microsoft.com/office/drawing/2014/main" id="{74B62FB2-6208-4899-A62D-31C694E369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3989" y="1506603"/>
            <a:ext cx="1721135" cy="243305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986" name="Picture 2" descr="https://www.irena.org/-/media/Images/IRENA/Agency/Publication/2021/Jan/IRENA_2021_Auctions_Japan.jpg?h=311&amp;w=220&amp;la=en&amp;hash=DDE48B5D6A808EC92EE325E8C29397F8C90A18AB">
            <a:extLst>
              <a:ext uri="{FF2B5EF4-FFF2-40B4-BE49-F238E27FC236}">
                <a16:creationId xmlns:a16="http://schemas.microsoft.com/office/drawing/2014/main" id="{300AA2A9-1DF1-4290-8FD7-FB53E9D1D7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4556" y="3399105"/>
            <a:ext cx="1622747" cy="229397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9F47370F-E1C2-874B-AC5E-8E397450C7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2143" y="6353666"/>
            <a:ext cx="403489" cy="3619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E1258401-23C6-2149-BDD6-E20CBEDE973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5152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B42FF3C-F303-4FC2-BAE4-C7A81CBCDF28}"/>
              </a:ext>
            </a:extLst>
          </p:cNvPr>
          <p:cNvSpPr/>
          <p:nvPr/>
        </p:nvSpPr>
        <p:spPr>
          <a:xfrm>
            <a:off x="264103" y="355245"/>
            <a:ext cx="115755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6192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Calibri"/>
              </a:rPr>
              <a:t>The energy transition is underway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6192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</p:txBody>
      </p:sp>
      <p:pic>
        <p:nvPicPr>
          <p:cNvPr id="6" name="Picture 5" descr="A picture containing building, fence&#10;&#10;Description automatically generated">
            <a:extLst>
              <a:ext uri="{FF2B5EF4-FFF2-40B4-BE49-F238E27FC236}">
                <a16:creationId xmlns:a16="http://schemas.microsoft.com/office/drawing/2014/main" id="{4BA4E3D1-66C1-49A4-A60E-BE0AD78A8C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695" y="985270"/>
            <a:ext cx="10922325" cy="525111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C1A8051-A589-4A7C-A722-709838782F7B}"/>
              </a:ext>
            </a:extLst>
          </p:cNvPr>
          <p:cNvSpPr/>
          <p:nvPr/>
        </p:nvSpPr>
        <p:spPr>
          <a:xfrm>
            <a:off x="354625" y="6302700"/>
            <a:ext cx="1062493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61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newables</a:t>
            </a:r>
            <a:r>
              <a:rPr lang="en-US" sz="2000" b="1" dirty="0">
                <a:solidFill>
                  <a:srgbClr val="0061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rgbClr val="0061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w</a:t>
            </a:r>
            <a:r>
              <a:rPr lang="en-US" sz="2000" b="1" dirty="0">
                <a:solidFill>
                  <a:srgbClr val="0061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rgbClr val="0061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ount</a:t>
            </a:r>
            <a:r>
              <a:rPr lang="en-US" sz="2000" b="1" dirty="0">
                <a:solidFill>
                  <a:srgbClr val="0061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rgbClr val="0061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one third of global power capacity today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D429CD4-B76F-E44F-9605-C32C65B8AD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2143" y="6353666"/>
            <a:ext cx="403489" cy="3619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E1258401-23C6-2149-BDD6-E20CBEDE973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6378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3DAB461-D1A2-435B-A269-9D96265379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491" y="1572094"/>
            <a:ext cx="11253452" cy="480817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B42FF3C-F303-4FC2-BAE4-C7A81CBCDF28}"/>
              </a:ext>
            </a:extLst>
          </p:cNvPr>
          <p:cNvSpPr/>
          <p:nvPr/>
        </p:nvSpPr>
        <p:spPr>
          <a:xfrm>
            <a:off x="264103" y="355245"/>
            <a:ext cx="101752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6192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Calibri"/>
              </a:rPr>
              <a:t>Innovations enable flexibility for a renewables-powered future</a:t>
            </a:r>
          </a:p>
        </p:txBody>
      </p:sp>
      <p:pic>
        <p:nvPicPr>
          <p:cNvPr id="40962" name="Picture 2" descr="https://www.irena.org/-/media/Images/IRENA/Agency/Publication/2019/Feb/IRENA_Innovation_Landscape_2019_cover.jpg?h=311&amp;w=220&amp;la=en&amp;hash=F751A6D5FD2A13366E0937089B2498647D8499C7">
            <a:extLst>
              <a:ext uri="{FF2B5EF4-FFF2-40B4-BE49-F238E27FC236}">
                <a16:creationId xmlns:a16="http://schemas.microsoft.com/office/drawing/2014/main" id="{3A709D90-B1FD-4171-97DC-F6C9AA5209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9400" y="355245"/>
            <a:ext cx="1432237" cy="202466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DED084D-F37F-A141-83D7-3BE698005D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2143" y="6353666"/>
            <a:ext cx="403489" cy="3619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E1258401-23C6-2149-BDD6-E20CBEDE973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31172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B42FF3C-F303-4FC2-BAE4-C7A81CBCDF28}"/>
              </a:ext>
            </a:extLst>
          </p:cNvPr>
          <p:cNvSpPr/>
          <p:nvPr/>
        </p:nvSpPr>
        <p:spPr>
          <a:xfrm>
            <a:off x="264103" y="355245"/>
            <a:ext cx="115874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6192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Calibri"/>
              </a:rPr>
              <a:t>Pathways to cut energy-related CO</a:t>
            </a:r>
            <a:r>
              <a:rPr kumimoji="0" lang="en-US" sz="2400" b="1" i="0" u="none" strike="noStrike" kern="1200" cap="none" spc="0" normalizeH="0" baseline="-25000" noProof="0" dirty="0">
                <a:ln>
                  <a:noFill/>
                </a:ln>
                <a:solidFill>
                  <a:srgbClr val="006192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Calibri"/>
              </a:rPr>
              <a:t>2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6192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Calibri"/>
              </a:rPr>
              <a:t> emissions to 2050 in line with the Paris Agreemen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6192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5905BB2-1B32-46D2-BCFD-49D8B397AC3E}"/>
              </a:ext>
            </a:extLst>
          </p:cNvPr>
          <p:cNvSpPr/>
          <p:nvPr/>
        </p:nvSpPr>
        <p:spPr>
          <a:xfrm>
            <a:off x="264102" y="5896760"/>
            <a:ext cx="1184373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1200" cap="none" spc="0" normalizeH="0" baseline="0" dirty="0">
                <a:ln>
                  <a:noFill/>
                </a:ln>
                <a:solidFill>
                  <a:srgbClr val="00619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ergy efficiency, renewables, end-use electrification, green hydrogen and synthetic fuels will play a crucial role in global decarbonisation.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9810EED-5868-C241-B984-2E6CD93215F0}"/>
              </a:ext>
            </a:extLst>
          </p:cNvPr>
          <p:cNvGrpSpPr/>
          <p:nvPr/>
        </p:nvGrpSpPr>
        <p:grpSpPr>
          <a:xfrm>
            <a:off x="84162" y="1347924"/>
            <a:ext cx="10984756" cy="4623833"/>
            <a:chOff x="264103" y="1527585"/>
            <a:chExt cx="9882554" cy="4159881"/>
          </a:xfrm>
        </p:grpSpPr>
        <p:pic>
          <p:nvPicPr>
            <p:cNvPr id="3" name="Picture 2" descr="A picture containing screenshot&#10;&#10;Description automatically generated">
              <a:extLst>
                <a:ext uri="{FF2B5EF4-FFF2-40B4-BE49-F238E27FC236}">
                  <a16:creationId xmlns:a16="http://schemas.microsoft.com/office/drawing/2014/main" id="{1BDAB8AD-3BD5-5F42-84F8-09C614042B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446"/>
            <a:stretch/>
          </p:blipFill>
          <p:spPr>
            <a:xfrm>
              <a:off x="264103" y="1527585"/>
              <a:ext cx="9882554" cy="4159881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4A19A1B-6EEC-4313-AA8B-2228B88C18F6}"/>
                </a:ext>
              </a:extLst>
            </p:cNvPr>
            <p:cNvSpPr txBox="1"/>
            <p:nvPr/>
          </p:nvSpPr>
          <p:spPr>
            <a:xfrm>
              <a:off x="465042" y="3151510"/>
              <a:ext cx="109677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619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2 degree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DB66A67-8929-47CA-906E-069906948BFD}"/>
                </a:ext>
              </a:extLst>
            </p:cNvPr>
            <p:cNvSpPr txBox="1"/>
            <p:nvPr/>
          </p:nvSpPr>
          <p:spPr>
            <a:xfrm>
              <a:off x="465042" y="4049680"/>
              <a:ext cx="126829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619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.5 degrees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30C00B57-886A-49D1-ACD6-F271ED113E96}"/>
                </a:ext>
              </a:extLst>
            </p:cNvPr>
            <p:cNvSpPr/>
            <p:nvPr/>
          </p:nvSpPr>
          <p:spPr>
            <a:xfrm>
              <a:off x="8478071" y="3695252"/>
              <a:ext cx="1000369" cy="400529"/>
            </a:xfrm>
            <a:prstGeom prst="roundRect">
              <a:avLst/>
            </a:prstGeom>
            <a:noFill/>
            <a:ln w="28575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0D414C6-8DC2-4EBF-AD88-60EB8A6F13C0}"/>
                </a:ext>
              </a:extLst>
            </p:cNvPr>
            <p:cNvSpPr/>
            <p:nvPr/>
          </p:nvSpPr>
          <p:spPr>
            <a:xfrm>
              <a:off x="9108973" y="3730296"/>
              <a:ext cx="216796" cy="307777"/>
            </a:xfrm>
            <a:prstGeom prst="rect">
              <a:avLst/>
            </a:prstGeom>
            <a:solidFill>
              <a:srgbClr val="585BA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892CF9D-F453-4EB7-BE5F-A98AC550AC66}"/>
                </a:ext>
              </a:extLst>
            </p:cNvPr>
            <p:cNvSpPr txBox="1"/>
            <p:nvPr/>
          </p:nvSpPr>
          <p:spPr>
            <a:xfrm>
              <a:off x="8672635" y="4080392"/>
              <a:ext cx="43633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H</a:t>
              </a:r>
              <a:r>
                <a:rPr kumimoji="0" lang="en-US" sz="1800" b="0" i="0" u="none" strike="noStrike" kern="1200" cap="none" spc="0" normalizeH="0" baseline="-25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2</a:t>
              </a:r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31793" y="1112520"/>
            <a:ext cx="1152112" cy="163080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extBox 1"/>
          <p:cNvSpPr txBox="1"/>
          <p:nvPr/>
        </p:nvSpPr>
        <p:spPr>
          <a:xfrm>
            <a:off x="307512" y="1147409"/>
            <a:ext cx="9326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Energy and industrial process-related CO2 emission reductions (Gt CO</a:t>
            </a:r>
            <a:r>
              <a:rPr lang="en-GB" b="1" baseline="-25000" dirty="0"/>
              <a:t>2</a:t>
            </a:r>
            <a:r>
              <a:rPr lang="en-GB" b="1" dirty="0"/>
              <a:t>/y by 2050)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23E0AC0B-DEA9-724E-BCD9-20B08F430F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2143" y="6353666"/>
            <a:ext cx="403489" cy="3619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E1258401-23C6-2149-BDD6-E20CBEDE9734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7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098652E7-895B-EA48-A86C-8806734289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89543" y="2029040"/>
            <a:ext cx="1153551" cy="16308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264877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9" name="Google Shape;619;p8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6822" y="1020135"/>
            <a:ext cx="11030255" cy="5283264"/>
          </a:xfrm>
          <a:prstGeom prst="rect">
            <a:avLst/>
          </a:prstGeom>
          <a:noFill/>
          <a:ln>
            <a:noFill/>
          </a:ln>
        </p:spPr>
      </p:pic>
      <p:sp>
        <p:nvSpPr>
          <p:cNvPr id="618" name="Google Shape;618;p82"/>
          <p:cNvSpPr/>
          <p:nvPr/>
        </p:nvSpPr>
        <p:spPr>
          <a:xfrm>
            <a:off x="276822" y="349335"/>
            <a:ext cx="11752000" cy="67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>
              <a:buClr>
                <a:srgbClr val="0872A6"/>
              </a:buClr>
              <a:buSzPts val="2100"/>
            </a:pPr>
            <a:r>
              <a:rPr lang="en-US" sz="2400" b="1" dirty="0">
                <a:solidFill>
                  <a:srgbClr val="006192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Sustainable recovery: Short-term benefits from investing in the energy transition</a:t>
            </a:r>
          </a:p>
          <a:p>
            <a:pPr>
              <a:buClr>
                <a:srgbClr val="0872A6"/>
              </a:buClr>
              <a:buSzPts val="2100"/>
            </a:pPr>
            <a:endParaRPr sz="2400" b="1" dirty="0">
              <a:solidFill>
                <a:srgbClr val="0872A6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pic>
        <p:nvPicPr>
          <p:cNvPr id="620" name="Google Shape;620;p8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312221" y="2626090"/>
            <a:ext cx="1494183" cy="219453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A9E6B3C-1F15-FD4D-85D8-D430CCF6E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2143" y="6353666"/>
            <a:ext cx="403489" cy="3619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E1258401-23C6-2149-BDD6-E20CBEDE973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8502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33367706-E7EF-A948-9A1F-24C2A96353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111" r="25189" b="10997"/>
          <a:stretch/>
        </p:blipFill>
        <p:spPr>
          <a:xfrm>
            <a:off x="-1" y="844426"/>
            <a:ext cx="12204123" cy="47283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479CA00-743A-4E24-8DA4-1020E6BC74D5}"/>
              </a:ext>
            </a:extLst>
          </p:cNvPr>
          <p:cNvSpPr txBox="1"/>
          <p:nvPr/>
        </p:nvSpPr>
        <p:spPr>
          <a:xfrm>
            <a:off x="0" y="1342438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872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ank </a:t>
            </a:r>
            <a:r>
              <a:rPr lang="en-US" sz="24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!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872A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7" name="Picture 2" descr="https://www.irena.org/-/media/Images/IRENA/Agency/Publication/2020/Sep/Reaching_zero_cover.jpg?h=311&amp;w=220&amp;la=en&amp;hash=84DD8457C4D17D579F8683221FC0AF4A2A9D9DD4">
            <a:extLst>
              <a:ext uri="{FF2B5EF4-FFF2-40B4-BE49-F238E27FC236}">
                <a16:creationId xmlns:a16="http://schemas.microsoft.com/office/drawing/2014/main" id="{DF1BE3B7-B901-4B18-AE6D-C24D60352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3782" y="2302114"/>
            <a:ext cx="1744437" cy="2466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D911B1A2-AF93-E34F-94B2-B97A51628CE1}"/>
              </a:ext>
            </a:extLst>
          </p:cNvPr>
          <p:cNvGrpSpPr/>
          <p:nvPr/>
        </p:nvGrpSpPr>
        <p:grpSpPr>
          <a:xfrm>
            <a:off x="7216826" y="2302114"/>
            <a:ext cx="4750252" cy="2466000"/>
            <a:chOff x="7216826" y="2384485"/>
            <a:chExt cx="4750252" cy="2466000"/>
          </a:xfrm>
        </p:grpSpPr>
        <p:pic>
          <p:nvPicPr>
            <p:cNvPr id="19" name="Picture 2" descr="https://www.irena.org/-/media/Images/IRENA/Agency/Publication/2021/Jan/IRENA_2021_Auctions_Japan.jpg?h=311&amp;w=220&amp;la=en&amp;hash=DDE48B5D6A808EC92EE325E8C29397F8C90A18AB">
              <a:extLst>
                <a:ext uri="{FF2B5EF4-FFF2-40B4-BE49-F238E27FC236}">
                  <a16:creationId xmlns:a16="http://schemas.microsoft.com/office/drawing/2014/main" id="{87D74461-C798-4FC6-B889-0F31BDCFF4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22640" y="2384485"/>
              <a:ext cx="1744438" cy="246600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Google Shape;635;p83" descr="Logo, company name&#10;&#10;Description automatically generated"/>
            <p:cNvPicPr preferRelativeResize="0">
              <a:picLocks noChangeAspect="1"/>
            </p:cNvPicPr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8869817" y="2384485"/>
              <a:ext cx="1673814" cy="246600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E958126-2A5B-46A0-B109-A56A4FAC8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216826" y="2384485"/>
              <a:ext cx="1739925" cy="2466000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5B2D5C0-7F42-FE4A-8074-7DD3FA27AA55}"/>
              </a:ext>
            </a:extLst>
          </p:cNvPr>
          <p:cNvGrpSpPr/>
          <p:nvPr/>
        </p:nvGrpSpPr>
        <p:grpSpPr>
          <a:xfrm>
            <a:off x="224922" y="2302114"/>
            <a:ext cx="4789792" cy="2466000"/>
            <a:chOff x="224922" y="2384485"/>
            <a:chExt cx="4789792" cy="2466000"/>
          </a:xfrm>
        </p:grpSpPr>
        <p:pic>
          <p:nvPicPr>
            <p:cNvPr id="24" name="Google Shape;630;p83" descr="Chart&#10;&#10;Description automatically generated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3275808" y="2384485"/>
              <a:ext cx="1738906" cy="246600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5" name="Google Shape;631;p83" descr="A picture containing graphical user interface&#10;&#10;Description automatically generated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1588487" y="2384485"/>
              <a:ext cx="1914374" cy="246600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C720EFC-7174-412C-896F-299A3E7B9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24922" y="2384485"/>
              <a:ext cx="1742156" cy="2466000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5A4B5308-20D0-6344-803D-965EFBECF962}"/>
              </a:ext>
            </a:extLst>
          </p:cNvPr>
          <p:cNvSpPr txBox="1">
            <a:spLocks/>
          </p:cNvSpPr>
          <p:nvPr/>
        </p:nvSpPr>
        <p:spPr bwMode="auto">
          <a:xfrm>
            <a:off x="12122" y="5650405"/>
            <a:ext cx="12192000" cy="94945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defTabSz="685800">
              <a:defRPr/>
            </a:pPr>
            <a:r>
              <a:rPr lang="en-GB" sz="2000" b="1" dirty="0" err="1">
                <a:solidFill>
                  <a:srgbClr val="00619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www.irena.org</a:t>
            </a:r>
            <a:endParaRPr lang="en-US" sz="2000" b="1" dirty="0">
              <a:solidFill>
                <a:srgbClr val="006192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FF27B24-6FB7-524B-9A06-EB1FA357BD79}"/>
              </a:ext>
            </a:extLst>
          </p:cNvPr>
          <p:cNvGrpSpPr/>
          <p:nvPr/>
        </p:nvGrpSpPr>
        <p:grpSpPr>
          <a:xfrm>
            <a:off x="8330389" y="4267458"/>
            <a:ext cx="2523126" cy="2012329"/>
            <a:chOff x="8211637" y="4267458"/>
            <a:chExt cx="2523126" cy="2012329"/>
          </a:xfrm>
        </p:grpSpPr>
        <p:pic>
          <p:nvPicPr>
            <p:cNvPr id="35" name="Google Shape;641;p83" descr="A picture containing square&#10;&#10;Description automatically generated"/>
            <p:cNvPicPr preferRelativeResize="0">
              <a:picLocks noChangeAspect="1"/>
            </p:cNvPicPr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 rot="600000">
              <a:off x="9301463" y="4267458"/>
              <a:ext cx="1433300" cy="199800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7" name="Google Shape;633;p83" descr="Chart, scatter chart&#10;&#10;Description automatically generated with medium confidence"/>
            <p:cNvPicPr preferRelativeResize="0">
              <a:picLocks noChangeAspect="1"/>
            </p:cNvPicPr>
            <p:nvPr/>
          </p:nvPicPr>
          <p:blipFill rotWithShape="1">
            <a:blip r:embed="rId12">
              <a:alphaModFix/>
            </a:blip>
            <a:srcRect/>
            <a:stretch/>
          </p:blipFill>
          <p:spPr>
            <a:xfrm rot="21000000">
              <a:off x="8211637" y="4281787"/>
              <a:ext cx="1426573" cy="199800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3C1EEE2-94B7-4D49-A498-C832D4AD72D3}"/>
              </a:ext>
            </a:extLst>
          </p:cNvPr>
          <p:cNvGrpSpPr/>
          <p:nvPr/>
        </p:nvGrpSpPr>
        <p:grpSpPr>
          <a:xfrm>
            <a:off x="1357566" y="4287855"/>
            <a:ext cx="2524504" cy="2008123"/>
            <a:chOff x="1285973" y="4287855"/>
            <a:chExt cx="2524504" cy="2008123"/>
          </a:xfrm>
        </p:grpSpPr>
        <p:pic>
          <p:nvPicPr>
            <p:cNvPr id="36" name="Google Shape;642;p83" descr="Diagram&#10;&#10;Description automatically generated"/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 rot="611807">
              <a:off x="2507672" y="4297978"/>
              <a:ext cx="1302805" cy="199800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2" name="Google Shape;638;p83" descr="Text&#10;&#10;Description automatically generated with medium confidence"/>
            <p:cNvPicPr preferRelativeResize="0"/>
            <p:nvPr/>
          </p:nvPicPr>
          <p:blipFill rotWithShape="1">
            <a:blip r:embed="rId14">
              <a:alphaModFix/>
            </a:blip>
            <a:srcRect/>
            <a:stretch/>
          </p:blipFill>
          <p:spPr>
            <a:xfrm rot="21000000">
              <a:off x="1285973" y="4287855"/>
              <a:ext cx="1437836" cy="199800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28" name="Picture 27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A6A72026-C80C-0A4F-9A41-3A7ED7A2B3B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814255" y="585478"/>
            <a:ext cx="2563490" cy="649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128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76C5137B447346801C682ADC33C85A" ma:contentTypeVersion="13" ma:contentTypeDescription="Create a new document." ma:contentTypeScope="" ma:versionID="286ee185cf3ea72bb00cbe40b4a5d7d0">
  <xsd:schema xmlns:xsd="http://www.w3.org/2001/XMLSchema" xmlns:xs="http://www.w3.org/2001/XMLSchema" xmlns:p="http://schemas.microsoft.com/office/2006/metadata/properties" xmlns:ns2="c6c24ece-1b07-426b-bedc-871241e7e223" xmlns:ns3="c8f347f8-85fa-4488-8783-ee09b7d8e676" targetNamespace="http://schemas.microsoft.com/office/2006/metadata/properties" ma:root="true" ma:fieldsID="7c78bf413156e562e8fa641550507e67" ns2:_="" ns3:_="">
    <xsd:import namespace="c6c24ece-1b07-426b-bedc-871241e7e223"/>
    <xsd:import namespace="c8f347f8-85fa-4488-8783-ee09b7d8e67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c24ece-1b07-426b-bedc-871241e7e2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f347f8-85fa-4488-8783-ee09b7d8e67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D390647-5301-46C5-8FAF-7780CD8FB9B3}"/>
</file>

<file path=customXml/itemProps2.xml><?xml version="1.0" encoding="utf-8"?>
<ds:datastoreItem xmlns:ds="http://schemas.openxmlformats.org/officeDocument/2006/customXml" ds:itemID="{1645A9CF-4305-4B29-9416-7F6F1763238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DF8725-0007-4334-913F-DF86957EB63F}">
  <ds:schemaRefs>
    <ds:schemaRef ds:uri="http://purl.org/dc/terms/"/>
    <ds:schemaRef ds:uri="http://schemas.openxmlformats.org/package/2006/metadata/core-properties"/>
    <ds:schemaRef ds:uri="a77902eb-0f7a-4646-b7d0-fdea15cf57ef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e3b9b789-7963-4306-a2bb-8a9583246b39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058</TotalTime>
  <Words>152</Words>
  <Application>Microsoft Macintosh PowerPoint</Application>
  <PresentationFormat>Widescreen</PresentationFormat>
  <Paragraphs>30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2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nuela Stefanides</dc:creator>
  <cp:lastModifiedBy>Manuela Stefanides</cp:lastModifiedBy>
  <cp:revision>33</cp:revision>
  <cp:lastPrinted>2021-01-29T08:33:20Z</cp:lastPrinted>
  <dcterms:created xsi:type="dcterms:W3CDTF">2019-12-15T06:25:28Z</dcterms:created>
  <dcterms:modified xsi:type="dcterms:W3CDTF">2021-03-10T09:4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76C5137B447346801C682ADC33C85A</vt:lpwstr>
  </property>
</Properties>
</file>